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790" r:id="rId8"/>
  </p:sldMasterIdLst>
  <p:notesMasterIdLst>
    <p:notesMasterId r:id="rId73"/>
  </p:notesMasterIdLst>
  <p:sldIdLst>
    <p:sldId id="256" r:id="rId9"/>
    <p:sldId id="257" r:id="rId10"/>
    <p:sldId id="266" r:id="rId11"/>
    <p:sldId id="260" r:id="rId12"/>
    <p:sldId id="263" r:id="rId13"/>
    <p:sldId id="2942" r:id="rId14"/>
    <p:sldId id="1792" r:id="rId15"/>
    <p:sldId id="888" r:id="rId16"/>
    <p:sldId id="506" r:id="rId17"/>
    <p:sldId id="10905" r:id="rId18"/>
    <p:sldId id="779" r:id="rId19"/>
    <p:sldId id="10906" r:id="rId20"/>
    <p:sldId id="10892" r:id="rId21"/>
    <p:sldId id="1001" r:id="rId22"/>
    <p:sldId id="1000" r:id="rId23"/>
    <p:sldId id="10907" r:id="rId24"/>
    <p:sldId id="10903" r:id="rId25"/>
    <p:sldId id="296" r:id="rId26"/>
    <p:sldId id="991" r:id="rId27"/>
    <p:sldId id="487" r:id="rId28"/>
    <p:sldId id="10872" r:id="rId29"/>
    <p:sldId id="10789" r:id="rId30"/>
    <p:sldId id="910" r:id="rId31"/>
    <p:sldId id="972" r:id="rId32"/>
    <p:sldId id="418" r:id="rId33"/>
    <p:sldId id="10893" r:id="rId34"/>
    <p:sldId id="10894" r:id="rId35"/>
    <p:sldId id="264" r:id="rId36"/>
    <p:sldId id="366" r:id="rId37"/>
    <p:sldId id="1728" r:id="rId38"/>
    <p:sldId id="270" r:id="rId39"/>
    <p:sldId id="787" r:id="rId40"/>
    <p:sldId id="262" r:id="rId41"/>
    <p:sldId id="10859" r:id="rId42"/>
    <p:sldId id="10904" r:id="rId43"/>
    <p:sldId id="868" r:id="rId44"/>
    <p:sldId id="10889" r:id="rId45"/>
    <p:sldId id="1897" r:id="rId46"/>
    <p:sldId id="1900" r:id="rId47"/>
    <p:sldId id="1911" r:id="rId48"/>
    <p:sldId id="1906" r:id="rId49"/>
    <p:sldId id="1913" r:id="rId50"/>
    <p:sldId id="1899" r:id="rId51"/>
    <p:sldId id="1908" r:id="rId52"/>
    <p:sldId id="1907" r:id="rId53"/>
    <p:sldId id="1918" r:id="rId54"/>
    <p:sldId id="1912" r:id="rId55"/>
    <p:sldId id="1914" r:id="rId56"/>
    <p:sldId id="1915" r:id="rId57"/>
    <p:sldId id="1916" r:id="rId58"/>
    <p:sldId id="1917" r:id="rId59"/>
    <p:sldId id="976" r:id="rId60"/>
    <p:sldId id="2892" r:id="rId61"/>
    <p:sldId id="409" r:id="rId62"/>
    <p:sldId id="10895" r:id="rId63"/>
    <p:sldId id="10896" r:id="rId64"/>
    <p:sldId id="10897" r:id="rId65"/>
    <p:sldId id="10900" r:id="rId66"/>
    <p:sldId id="10901" r:id="rId67"/>
    <p:sldId id="10898" r:id="rId68"/>
    <p:sldId id="10899" r:id="rId69"/>
    <p:sldId id="10890" r:id="rId70"/>
    <p:sldId id="269" r:id="rId71"/>
    <p:sldId id="2123" r:id="rId72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339933"/>
    <a:srgbClr val="000099"/>
    <a:srgbClr val="D01F29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007" autoAdjust="0"/>
    <p:restoredTop sz="91376" autoAdjust="0"/>
  </p:normalViewPr>
  <p:slideViewPr>
    <p:cSldViewPr snapToGrid="0">
      <p:cViewPr varScale="1">
        <p:scale>
          <a:sx n="138" d="100"/>
          <a:sy n="138" d="100"/>
        </p:scale>
        <p:origin x="200" y="8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1/2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2121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706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6335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8444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365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4530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5133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4346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6568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1512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98767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9423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91459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658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5848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7190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6096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8170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878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1/20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1/20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1/20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748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64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 dirty="0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subhead style, 20pt reg, Georgi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492" y="316599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823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644" y="50625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379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173" y="6203240"/>
            <a:ext cx="2125228" cy="37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999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7267819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1902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0091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 dirty="0"/>
              <a:t>Are there any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eded for closing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567" y="594462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1948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38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45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43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817" r:id="rId4"/>
    <p:sldLayoutId id="2147483842" r:id="rId5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844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 smtClean="0">
                <a:solidFill>
                  <a:schemeClr val="bg1">
                    <a:lumMod val="85000"/>
                  </a:schemeClr>
                </a:solidFill>
              </a:rPr>
              <a:t>‹#›</a:t>
            </a:fld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82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>
          <a:solidFill>
            <a:srgbClr val="00539B"/>
          </a:solidFill>
          <a:latin typeface="Arial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9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0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November 20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67F7C2-C707-2941-ADA4-8141B1E55B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7" y="706582"/>
            <a:ext cx="12167233" cy="5455942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9E89C31-B64B-C141-A821-8F4D5D1539D5}"/>
              </a:ext>
            </a:extLst>
          </p:cNvPr>
          <p:cNvCxnSpPr>
            <a:cxnSpLocks/>
          </p:cNvCxnSpPr>
          <p:nvPr/>
        </p:nvCxnSpPr>
        <p:spPr>
          <a:xfrm flipH="1">
            <a:off x="3810000" y="2425610"/>
            <a:ext cx="5910471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771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192447" y="2568457"/>
            <a:ext cx="34666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4019680" y="1143000"/>
            <a:ext cx="7753220" cy="5624524"/>
            <a:chOff x="-95120" y="1372175"/>
            <a:chExt cx="7821490" cy="573580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95120" y="1372175"/>
              <a:ext cx="7583596" cy="5735801"/>
            </a:xfrm>
            <a:prstGeom prst="rect">
              <a:avLst/>
            </a:prstGeom>
          </p:spPr>
        </p:pic>
        <p:sp>
          <p:nvSpPr>
            <p:cNvPr id="10" name="4-Point Star 9"/>
            <p:cNvSpPr/>
            <p:nvPr/>
          </p:nvSpPr>
          <p:spPr>
            <a:xfrm>
              <a:off x="7560185" y="2691868"/>
              <a:ext cx="166185" cy="170775"/>
            </a:xfrm>
            <a:prstGeom prst="star4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4-Point Star 10"/>
            <p:cNvSpPr/>
            <p:nvPr/>
          </p:nvSpPr>
          <p:spPr>
            <a:xfrm>
              <a:off x="7560185" y="3738652"/>
              <a:ext cx="166185" cy="170775"/>
            </a:xfrm>
            <a:prstGeom prst="star4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4-Point Star 11"/>
            <p:cNvSpPr/>
            <p:nvPr/>
          </p:nvSpPr>
          <p:spPr>
            <a:xfrm>
              <a:off x="7560185" y="4186571"/>
              <a:ext cx="166185" cy="170775"/>
            </a:xfrm>
            <a:prstGeom prst="star4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4-Point Star 12"/>
            <p:cNvSpPr/>
            <p:nvPr/>
          </p:nvSpPr>
          <p:spPr>
            <a:xfrm>
              <a:off x="7560185" y="4414672"/>
              <a:ext cx="166185" cy="170775"/>
            </a:xfrm>
            <a:prstGeom prst="star4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32179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752999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BE0BA3-876D-944F-857F-C20C7E03B1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349" y="1289050"/>
            <a:ext cx="11750269" cy="42799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201168" y="1070424"/>
            <a:ext cx="822179" cy="5000035"/>
          </a:xfrm>
          <a:prstGeom prst="rect">
            <a:avLst/>
          </a:prstGeom>
          <a:noFill/>
          <a:ln w="6350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092623" y="1074057"/>
            <a:ext cx="1109268" cy="5000035"/>
          </a:xfrm>
          <a:prstGeom prst="rect">
            <a:avLst/>
          </a:prstGeom>
          <a:noFill/>
          <a:ln w="63500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9943119" y="1052718"/>
            <a:ext cx="944897" cy="5000035"/>
          </a:xfrm>
          <a:prstGeom prst="rect">
            <a:avLst/>
          </a:prstGeom>
          <a:noFill/>
          <a:ln w="635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0957291" y="1042181"/>
            <a:ext cx="916052" cy="5000035"/>
          </a:xfrm>
          <a:prstGeom prst="rect">
            <a:avLst/>
          </a:prstGeom>
          <a:noFill/>
          <a:ln w="635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2302605" y="1042180"/>
            <a:ext cx="878346" cy="5000035"/>
          </a:xfrm>
          <a:prstGeom prst="rect">
            <a:avLst/>
          </a:prstGeom>
          <a:noFill/>
          <a:ln w="635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77F10F-F959-B549-91DD-A9E338C63DE3}"/>
              </a:ext>
            </a:extLst>
          </p:cNvPr>
          <p:cNvSpPr txBox="1"/>
          <p:nvPr/>
        </p:nvSpPr>
        <p:spPr>
          <a:xfrm>
            <a:off x="192349" y="6317328"/>
            <a:ext cx="6251380" cy="400110"/>
          </a:xfrm>
          <a:prstGeom prst="rect">
            <a:avLst/>
          </a:prstGeom>
          <a:solidFill>
            <a:srgbClr val="33993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20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9 Hospitalized in Lubbock – 58 on vents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25436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152625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RAC-DSH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1083742"/>
            <a:ext cx="102488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Medical Incident Support Team (MIST)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6600" y="1985991"/>
            <a:ext cx="105791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 Arial"/>
              </a:rPr>
              <a:t>MIST Demobilized last 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 Arial"/>
              </a:rPr>
              <a:t>Transfer management back to the local le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 Arial"/>
              </a:rPr>
              <a:t>Rural hospitals concerned as they were support to facilitate transfers to locations outside of the RA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>
                <a:solidFill>
                  <a:schemeClr val="bg1"/>
                </a:solidFill>
                <a:latin typeface=" Arial"/>
              </a:rPr>
              <a:t>Hospitals in surrounding areas and states not able to take patients</a:t>
            </a:r>
          </a:p>
        </p:txBody>
      </p:sp>
    </p:spTree>
    <p:extLst>
      <p:ext uri="{BB962C8B-B14F-4D97-AF65-F5344CB8AC3E}">
        <p14:creationId xmlns:p14="http://schemas.microsoft.com/office/powerpoint/2010/main" val="909225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-56631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Transfer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95907" y="2463199"/>
            <a:ext cx="10600185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rillo VA Hospitals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ing non-veteran COVID patients</a:t>
            </a:r>
          </a:p>
          <a:p>
            <a:pPr marL="571500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taken 12 patients from the region 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196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3672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RANSFER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t="38656"/>
          <a:stretch/>
        </p:blipFill>
        <p:spPr>
          <a:xfrm>
            <a:off x="6418283" y="1867938"/>
            <a:ext cx="5472712" cy="458841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/>
          <a:srcRect r="-543" b="64124"/>
          <a:stretch/>
        </p:blipFill>
        <p:spPr>
          <a:xfrm>
            <a:off x="322283" y="1867938"/>
            <a:ext cx="5773717" cy="281572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473200" y="1105410"/>
            <a:ext cx="3784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COVID UNIT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447280" y="1186930"/>
            <a:ext cx="3784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ALL UNITS</a:t>
            </a:r>
          </a:p>
        </p:txBody>
      </p:sp>
    </p:spTree>
    <p:extLst>
      <p:ext uri="{BB962C8B-B14F-4D97-AF65-F5344CB8AC3E}">
        <p14:creationId xmlns:p14="http://schemas.microsoft.com/office/powerpoint/2010/main" val="2542804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7030" y="69783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BRAC – bed availability this morn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4EB894-472A-DE47-92F9-C5DADC474B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711041"/>
            <a:ext cx="11785600" cy="39624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895600" y="2970640"/>
            <a:ext cx="622300" cy="2425700"/>
          </a:xfrm>
          <a:prstGeom prst="rect">
            <a:avLst/>
          </a:prstGeom>
          <a:noFill/>
          <a:ln w="76200">
            <a:solidFill>
              <a:srgbClr val="7030A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3624115" y="2970640"/>
            <a:ext cx="629227" cy="2425700"/>
          </a:xfrm>
          <a:prstGeom prst="rect">
            <a:avLst/>
          </a:prstGeom>
          <a:noFill/>
          <a:ln w="76200"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263570" y="2970640"/>
            <a:ext cx="825500" cy="2425700"/>
          </a:xfrm>
          <a:prstGeom prst="rect">
            <a:avLst/>
          </a:prstGeom>
          <a:noFill/>
          <a:ln w="76200">
            <a:solidFill>
              <a:srgbClr val="F38D4D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9392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65C5117-E6CC-204F-A079-7C78DF0DDE2D}"/>
              </a:ext>
            </a:extLst>
          </p:cNvPr>
          <p:cNvSpPr txBox="1"/>
          <p:nvPr/>
        </p:nvSpPr>
        <p:spPr>
          <a:xfrm>
            <a:off x="1012874" y="729021"/>
            <a:ext cx="213828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Daily New Confirmed Cases for our are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BF40A3-B7E5-2543-9BAD-4D55CAE3BB02}"/>
              </a:ext>
            </a:extLst>
          </p:cNvPr>
          <p:cNvSpPr txBox="1"/>
          <p:nvPr/>
        </p:nvSpPr>
        <p:spPr>
          <a:xfrm>
            <a:off x="5415987" y="1723752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3.4 %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25736A-7D1F-AC4D-8767-E3BD91C46C12}"/>
              </a:ext>
            </a:extLst>
          </p:cNvPr>
          <p:cNvSpPr txBox="1"/>
          <p:nvPr/>
        </p:nvSpPr>
        <p:spPr>
          <a:xfrm>
            <a:off x="10254116" y="729021"/>
            <a:ext cx="14430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26 on 11/10</a:t>
            </a:r>
          </a:p>
          <a:p>
            <a:r>
              <a:rPr lang="en-US" dirty="0">
                <a:solidFill>
                  <a:schemeClr val="bg1"/>
                </a:solidFill>
              </a:rPr>
              <a:t>446 on 11/1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78F4C5-22B8-0244-A14C-B1CDDCE038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245" y="729021"/>
            <a:ext cx="7475973" cy="30204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3F44115-DB64-5847-B4BE-C39DE08AFD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1" y="4320790"/>
            <a:ext cx="5799432" cy="22709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E34274E-DF07-2048-8CD3-61600307D5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5779" y="4320608"/>
            <a:ext cx="5808695" cy="227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9787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1203960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 COVID UNIT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19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00" y="1870647"/>
            <a:ext cx="5945819" cy="413837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1870647"/>
            <a:ext cx="5822952" cy="4138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475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3177" y="220306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OTAL COVID on ALL UNITS on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432934" y="129339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2530" name="Picture 3" descr="image00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418"/>
          <a:stretch/>
        </p:blipFill>
        <p:spPr bwMode="auto">
          <a:xfrm>
            <a:off x="868809" y="2699886"/>
            <a:ext cx="10454382" cy="234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1816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-189395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19/2020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776" y="1502468"/>
            <a:ext cx="10740447" cy="5072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363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CB6195-2037-8942-BA60-A0F8DA9896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rge Pla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8AB79C-4516-6449-BE95-3AF423E091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350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0603" y="5803166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5646570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214822"/>
            <a:ext cx="9784080" cy="1508760"/>
          </a:xfrm>
        </p:spPr>
        <p:txBody>
          <a:bodyPr/>
          <a:lstStyle/>
          <a:p>
            <a:r>
              <a:rPr lang="en-US" dirty="0"/>
              <a:t>STATE PROVIDED BLUE MEDICAL TENT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2313"/>
            <a:ext cx="12192000" cy="1254373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3809" y="1109572"/>
            <a:ext cx="609642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u="sng" dirty="0">
                <a:solidFill>
                  <a:schemeClr val="bg1"/>
                </a:solidFill>
                <a:latin typeface=" Arial"/>
              </a:rPr>
              <a:t>Covenant  1 tent</a:t>
            </a:r>
          </a:p>
          <a:p>
            <a:r>
              <a:rPr lang="en-US" sz="2800" b="1" dirty="0">
                <a:solidFill>
                  <a:schemeClr val="bg1"/>
                </a:solidFill>
                <a:latin typeface=" Arial"/>
              </a:rPr>
              <a:t>Tentative Go Live:  Tuesday 11/17</a:t>
            </a:r>
          </a:p>
          <a:p>
            <a:endParaRPr lang="en-US" sz="2800" b="1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Tent setup complete 11/12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Security fencing up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LPD has location on an assigned rou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First pts 11/18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11/19: 8 pts treated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0235" y="1302931"/>
            <a:ext cx="5674795" cy="29354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368143" y="4318854"/>
            <a:ext cx="582385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u="sng" dirty="0">
                <a:latin typeface=" Arial"/>
              </a:rPr>
              <a:t>UMC 3 tents</a:t>
            </a:r>
          </a:p>
          <a:p>
            <a:r>
              <a:rPr lang="en-US" sz="2800" dirty="0">
                <a:latin typeface=" Arial"/>
              </a:rPr>
              <a:t>Tentative Go Live:  TBA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Emergency Room Overflo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 Arial"/>
              </a:rPr>
              <a:t>Observ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2400" y="5464610"/>
            <a:ext cx="66906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TRACKING COSTS FOR FEMA REIMBURSEMENT</a:t>
            </a:r>
          </a:p>
        </p:txBody>
      </p:sp>
    </p:spTree>
    <p:extLst>
      <p:ext uri="{BB962C8B-B14F-4D97-AF65-F5344CB8AC3E}">
        <p14:creationId xmlns:p14="http://schemas.microsoft.com/office/powerpoint/2010/main" val="41083819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/>
              <a:t>1 South Overflow at Children’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2314"/>
            <a:ext cx="12192000" cy="77724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1" y="1092314"/>
            <a:ext cx="1144088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Planning Phase</a:t>
            </a:r>
          </a:p>
          <a:p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Beds- 28 b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atient type: South 9 - hospitali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taff requested: RN, Monitor Tech, Respirat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Equipment: </a:t>
            </a:r>
            <a:r>
              <a:rPr lang="en-US" sz="2800" u="sng" dirty="0"/>
              <a:t>Mobile Tele system,</a:t>
            </a:r>
            <a:r>
              <a:rPr lang="en-US" sz="2800" dirty="0"/>
              <a:t> IV modules, defibrillator, medical suc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ed Gases: RM 101-113 O2/Vacuum  RM 116-128 O2/Vacuum/ Med Ai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Working on Physician Cover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ooms to be ready:  11/16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Go Live: When volume exceeds capacity at CMC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96537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Cristian </a:t>
            </a:r>
            <a:r>
              <a:rPr lang="en-US" b="1" dirty="0" err="1">
                <a:solidFill>
                  <a:schemeClr val="tx1"/>
                </a:solidFill>
              </a:rPr>
              <a:t>Requenez</a:t>
            </a:r>
            <a:r>
              <a:rPr lang="en-US" b="1" dirty="0">
                <a:solidFill>
                  <a:schemeClr val="tx1"/>
                </a:solidFill>
              </a:rPr>
              <a:t>, MS</a:t>
            </a:r>
          </a:p>
          <a:p>
            <a:r>
              <a:rPr lang="en-US" dirty="0">
                <a:solidFill>
                  <a:schemeClr val="tx1"/>
                </a:solidFill>
              </a:rPr>
              <a:t>Clinical Data Analyst</a:t>
            </a:r>
          </a:p>
          <a:p>
            <a:r>
              <a:rPr lang="en-US" dirty="0">
                <a:solidFill>
                  <a:schemeClr val="tx1"/>
                </a:solidFill>
              </a:rPr>
              <a:t>Clinical Excelle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580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DB7801-FD81-4E57-B107-51C8B3F785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7688" y="867638"/>
            <a:ext cx="7396624" cy="539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825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454484-D8F5-470F-9AF0-5E2394725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1335" y="1504681"/>
            <a:ext cx="10069330" cy="384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02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7AAE98-F959-4C2F-B051-30C059436A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6105" y="1457050"/>
            <a:ext cx="10126488" cy="394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182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New COVID-19 POSITIVES by Day Trend</a:t>
            </a:r>
            <a:br>
              <a:rPr lang="en-US" sz="3700"/>
            </a:br>
            <a:endParaRPr lang="en-US" sz="37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ADD2FA9-2DAB-446E-8C3D-4C29C6139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679" y="846334"/>
            <a:ext cx="11702642" cy="539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592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700"/>
              <a:t> COVID-19 POSITIVES Age Distribution</a:t>
            </a:r>
            <a:br>
              <a:rPr lang="en-US" sz="3700"/>
            </a:br>
            <a:endParaRPr lang="en-US" sz="37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C17B93-A43B-4071-89FE-93ED31A02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753" y="894806"/>
            <a:ext cx="8464493" cy="506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7310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2D3F159-DA31-4CEC-B0BB-5950E20B46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688" y="979740"/>
            <a:ext cx="8247099" cy="508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4659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25775" y="2224049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8.4% are positiv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375" y="2831224"/>
            <a:ext cx="11101125" cy="352564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98246" y="80831"/>
            <a:ext cx="4088302" cy="268833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708132" y="2776360"/>
            <a:ext cx="6583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 Arial"/>
              </a:rPr>
              <a:t>11/18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8B2A516-8A3D-5149-8021-73C8740B6B40}"/>
              </a:ext>
            </a:extLst>
          </p:cNvPr>
          <p:cNvSpPr/>
          <p:nvPr/>
        </p:nvSpPr>
        <p:spPr>
          <a:xfrm>
            <a:off x="10605764" y="5691099"/>
            <a:ext cx="863103" cy="872837"/>
          </a:xfrm>
          <a:prstGeom prst="ellipse">
            <a:avLst/>
          </a:prstGeom>
          <a:noFill/>
          <a:ln w="698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0285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E8B8F30-7A01-4045-B361-83A5D04093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041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72557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457223" y="3991903"/>
            <a:ext cx="66100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</a:t>
            </a:r>
            <a:r>
              <a:rPr lang="en-US" sz="24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pdate</a:t>
            </a:r>
          </a:p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Received shipment but high utilization</a:t>
            </a:r>
          </a:p>
          <a:p>
            <a:r>
              <a:rPr lang="en-US" sz="2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</a:t>
            </a:r>
            <a:endParaRPr lang="en-US" sz="2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4643724"/>
              </p:ext>
            </p:extLst>
          </p:nvPr>
        </p:nvGraphicFramePr>
        <p:xfrm>
          <a:off x="6322819" y="1370325"/>
          <a:ext cx="5403397" cy="1643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60823" y="384102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02839" y="3835635"/>
            <a:ext cx="51499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60823" y="417285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60823" y="450467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40262" y="3407935"/>
            <a:ext cx="6848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20195" y="3422291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1972526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095479-8C87-3943-BD0B-5A04A8E01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54E872D-D3F5-7044-B69A-E7260CC1C5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654" y="231269"/>
            <a:ext cx="10408692" cy="5834172"/>
          </a:xfrm>
        </p:spPr>
      </p:pic>
    </p:spTree>
    <p:extLst>
      <p:ext uri="{BB962C8B-B14F-4D97-AF65-F5344CB8AC3E}">
        <p14:creationId xmlns:p14="http://schemas.microsoft.com/office/powerpoint/2010/main" val="3640087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Pharmacy Update</a:t>
            </a:r>
            <a:br>
              <a:rPr lang="en-US" dirty="0"/>
            </a:br>
            <a:r>
              <a:rPr lang="en-US" sz="3600" dirty="0">
                <a:cs typeface="Calibri"/>
              </a:rPr>
              <a:t>Vaccine Update</a:t>
            </a:r>
            <a:endParaRPr lang="en-US" dirty="0">
              <a:cs typeface="Calibri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Wesley Wells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Regional Pharmacy Director </a:t>
            </a:r>
          </a:p>
          <a:p>
            <a:r>
              <a:rPr lang="en-US" dirty="0">
                <a:ea typeface="+mn-lt"/>
                <a:cs typeface="+mn-lt"/>
              </a:rPr>
              <a:t>Covenant 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7080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A75E8FE-E871-4E96-BBDF-9B5F57314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tion Warp Speed (OWS)</a:t>
            </a:r>
            <a:br>
              <a:rPr lang="en-US" dirty="0"/>
            </a:b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5ED3822-C148-4DEA-A293-50B15DE384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Ensuring that every American who wants to receive a COVID-19 vaccine can receive one, by delivering safe and effective vaccine doses to the American people beginning January 2021</a:t>
            </a:r>
          </a:p>
          <a:p>
            <a:r>
              <a:rPr lang="en-US" sz="2400" dirty="0"/>
              <a:t>Four essential components to strategy</a:t>
            </a:r>
          </a:p>
          <a:p>
            <a:pPr lvl="1"/>
            <a:r>
              <a:rPr lang="en-US" sz="2000" dirty="0"/>
              <a:t>Distribution, Administration, Monitoring, Education</a:t>
            </a:r>
          </a:p>
          <a:p>
            <a:pPr lvl="1"/>
            <a:endParaRPr lang="en-US" sz="2000" dirty="0"/>
          </a:p>
          <a:p>
            <a:endParaRPr lang="en-US" sz="2400" dirty="0"/>
          </a:p>
        </p:txBody>
      </p:sp>
      <p:pic>
        <p:nvPicPr>
          <p:cNvPr id="8" name="Content Placeholder 3">
            <a:extLst>
              <a:ext uri="{FF2B5EF4-FFF2-40B4-BE49-F238E27FC236}">
                <a16:creationId xmlns:a16="http://schemas.microsoft.com/office/drawing/2014/main" id="{BFE77C17-2DF9-4788-B506-D041A1EF55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6848"/>
          <a:stretch/>
        </p:blipFill>
        <p:spPr>
          <a:xfrm>
            <a:off x="1913682" y="3263347"/>
            <a:ext cx="8364635" cy="2697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61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6C1C8-4316-44ED-A9AF-4E4C77B0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sible Candidat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F4DCCEFD-6D5E-49E1-9971-177069C6D6A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225035"/>
            <a:ext cx="10972800" cy="4895292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2444C5C-3D28-4334-98D3-D7E0D21C55D6}"/>
              </a:ext>
            </a:extLst>
          </p:cNvPr>
          <p:cNvSpPr/>
          <p:nvPr/>
        </p:nvSpPr>
        <p:spPr>
          <a:xfrm>
            <a:off x="684325" y="2123768"/>
            <a:ext cx="10730927" cy="112087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388A4E-5638-429D-A002-372B7B504E0B}"/>
              </a:ext>
            </a:extLst>
          </p:cNvPr>
          <p:cNvSpPr/>
          <p:nvPr/>
        </p:nvSpPr>
        <p:spPr>
          <a:xfrm>
            <a:off x="666631" y="3280041"/>
            <a:ext cx="10844981" cy="2760898"/>
          </a:xfrm>
          <a:prstGeom prst="rect">
            <a:avLst/>
          </a:prstGeom>
          <a:solidFill>
            <a:srgbClr val="606060">
              <a:alpha val="52941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884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1F694-F869-45F5-A6AD-64B361172F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Product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CB159F6E-AF12-4ABE-AA4E-840F32441D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72163" y="1219200"/>
            <a:ext cx="8447673" cy="49069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D21ECA4-8A1D-49F7-9306-E09CA51170DE}"/>
              </a:ext>
            </a:extLst>
          </p:cNvPr>
          <p:cNvSpPr txBox="1"/>
          <p:nvPr/>
        </p:nvSpPr>
        <p:spPr>
          <a:xfrm>
            <a:off x="6154990" y="2889357"/>
            <a:ext cx="911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0 day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41504F-013B-4E91-9595-D8C3343F165A}"/>
              </a:ext>
            </a:extLst>
          </p:cNvPr>
          <p:cNvCxnSpPr>
            <a:endCxn id="6" idx="1"/>
          </p:cNvCxnSpPr>
          <p:nvPr/>
        </p:nvCxnSpPr>
        <p:spPr>
          <a:xfrm flipV="1">
            <a:off x="5719805" y="3043246"/>
            <a:ext cx="435185" cy="2001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8828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E88E6E-F55A-456C-81F5-BE517DA83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izer Vaccine Packag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E39B65-CE2E-44F8-BA39-30A0044E2D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/>
              <a:t>Packaged in Pfizer’s Ultra-Low Temperature Thermal Shipper</a:t>
            </a:r>
          </a:p>
          <a:p>
            <a:r>
              <a:rPr lang="en-GB" sz="2800" dirty="0"/>
              <a:t>Up to five trays (pizza boxes) per shipper</a:t>
            </a:r>
          </a:p>
          <a:p>
            <a:r>
              <a:rPr lang="en-GB" sz="2800" dirty="0"/>
              <a:t>Tray and vial quantities:</a:t>
            </a:r>
          </a:p>
          <a:p>
            <a:pPr lvl="1"/>
            <a:r>
              <a:rPr lang="en-GB" sz="2400" dirty="0"/>
              <a:t>One vial = 5 doses</a:t>
            </a:r>
          </a:p>
          <a:p>
            <a:pPr lvl="1"/>
            <a:r>
              <a:rPr lang="en-GB" sz="2400" dirty="0"/>
              <a:t>One tray = 195 vials</a:t>
            </a:r>
          </a:p>
          <a:p>
            <a:pPr lvl="1"/>
            <a:r>
              <a:rPr lang="en-GB" sz="2400" dirty="0"/>
              <a:t>975 doses per tray: the minimum order</a:t>
            </a:r>
          </a:p>
          <a:p>
            <a:pPr lvl="1"/>
            <a:r>
              <a:rPr lang="en-GB" sz="2400" dirty="0"/>
              <a:t>Five trays = 4,875 doses: the maximum </a:t>
            </a:r>
            <a:br>
              <a:rPr lang="en-GB" sz="2400" dirty="0"/>
            </a:br>
            <a:r>
              <a:rPr lang="en-GB" sz="2400" dirty="0"/>
              <a:t>per shipper</a:t>
            </a:r>
          </a:p>
          <a:p>
            <a:r>
              <a:rPr lang="en-GB" sz="2800" dirty="0"/>
              <a:t>Recharge every 5 days, opening shipper </a:t>
            </a:r>
            <a:br>
              <a:rPr lang="en-GB" sz="2800" dirty="0"/>
            </a:br>
            <a:r>
              <a:rPr lang="en-GB" sz="2800" dirty="0"/>
              <a:t>only twice per day</a:t>
            </a:r>
          </a:p>
          <a:p>
            <a:pPr lvl="1"/>
            <a:r>
              <a:rPr lang="en-GB" sz="2400" dirty="0"/>
              <a:t>Return shipper to Pfizer within 10-20 days</a:t>
            </a:r>
          </a:p>
          <a:p>
            <a:endParaRPr lang="en-GB" sz="2800" dirty="0"/>
          </a:p>
          <a:p>
            <a:endParaRPr lang="en-US" sz="2800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31A1619-3246-4C9E-9B1D-61D31BE25D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85" t="5480" r="11586" b="3225"/>
          <a:stretch/>
        </p:blipFill>
        <p:spPr>
          <a:xfrm>
            <a:off x="7097151" y="1885325"/>
            <a:ext cx="4550899" cy="401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91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2E933B-8923-492D-8E18-07FF8F78BA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 Vaccination Phased Distribution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64BA6466-68D4-41C9-9D38-67662585F9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6781" b="10504"/>
          <a:stretch/>
        </p:blipFill>
        <p:spPr>
          <a:xfrm>
            <a:off x="1492347" y="1207858"/>
            <a:ext cx="9207305" cy="4814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278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A97AA-7BBB-4B44-8689-C7CE456F6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ion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836C23-A362-437B-AAC5-5287601329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1"/>
            <a:ext cx="6332729" cy="4906963"/>
          </a:xfrm>
        </p:spPr>
        <p:txBody>
          <a:bodyPr/>
          <a:lstStyle/>
          <a:p>
            <a:r>
              <a:rPr lang="en-US" sz="2800" dirty="0"/>
              <a:t>Model 1: Ship-to-Site</a:t>
            </a:r>
          </a:p>
          <a:p>
            <a:pPr lvl="1"/>
            <a:r>
              <a:rPr lang="en-US" sz="2400" dirty="0"/>
              <a:t>Ship directly to site of administration</a:t>
            </a:r>
          </a:p>
          <a:p>
            <a:pPr lvl="1"/>
            <a:r>
              <a:rPr lang="en-US" sz="2400" dirty="0"/>
              <a:t>Eliminates additional cold-chain requirements</a:t>
            </a:r>
          </a:p>
          <a:p>
            <a:pPr lvl="1"/>
            <a:r>
              <a:rPr lang="en-US" sz="2400" dirty="0"/>
              <a:t>Draw backs</a:t>
            </a:r>
          </a:p>
          <a:p>
            <a:pPr lvl="2"/>
            <a:r>
              <a:rPr lang="en-US" sz="2000" dirty="0"/>
              <a:t>Limited distribution in sites that have limited number of target caregivers</a:t>
            </a:r>
          </a:p>
          <a:p>
            <a:pPr lvl="2"/>
            <a:r>
              <a:rPr lang="en-US" sz="2000" dirty="0"/>
              <a:t>Shortened shelf life depending on storage conditions</a:t>
            </a:r>
          </a:p>
          <a:p>
            <a:pPr lvl="2"/>
            <a:r>
              <a:rPr lang="en-US" sz="2000" dirty="0"/>
              <a:t>Requires coordination on data entry requirements</a:t>
            </a:r>
          </a:p>
          <a:p>
            <a:pPr lvl="1"/>
            <a:endParaRPr lang="en-US" sz="2400" dirty="0"/>
          </a:p>
        </p:txBody>
      </p:sp>
      <p:pic>
        <p:nvPicPr>
          <p:cNvPr id="19458" name="Picture 2">
            <a:extLst>
              <a:ext uri="{FF2B5EF4-FFF2-40B4-BE49-F238E27FC236}">
                <a16:creationId xmlns:a16="http://schemas.microsoft.com/office/drawing/2014/main" id="{EE7487D6-05E6-490C-8B12-D27B1F05D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8755240" y="3833366"/>
            <a:ext cx="1165369" cy="1004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See the source image">
            <a:extLst>
              <a:ext uri="{FF2B5EF4-FFF2-40B4-BE49-F238E27FC236}">
                <a16:creationId xmlns:a16="http://schemas.microsoft.com/office/drawing/2014/main" id="{004482AC-5543-4A71-92E5-43542C5A3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357" y="3998951"/>
            <a:ext cx="846343" cy="84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See the source image">
            <a:extLst>
              <a:ext uri="{FF2B5EF4-FFF2-40B4-BE49-F238E27FC236}">
                <a16:creationId xmlns:a16="http://schemas.microsoft.com/office/drawing/2014/main" id="{61FFF0B4-6141-47F1-A23C-00173C4F3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0514" y="4075954"/>
            <a:ext cx="846343" cy="84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68E6A5F7-E54D-42A6-90A3-88EC105DD6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7789120" y="4016962"/>
            <a:ext cx="883919" cy="76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251446B0-1E90-415A-83D8-9C90CBC37B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11110412" y="4075954"/>
            <a:ext cx="883919" cy="76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BEB106F1-250E-4895-8743-03BA1C6F9E1B}"/>
              </a:ext>
            </a:extLst>
          </p:cNvPr>
          <p:cNvCxnSpPr>
            <a:cxnSpLocks/>
            <a:stCxn id="19464" idx="2"/>
            <a:endCxn id="19460" idx="0"/>
          </p:cNvCxnSpPr>
          <p:nvPr/>
        </p:nvCxnSpPr>
        <p:spPr>
          <a:xfrm rot="5400000">
            <a:off x="7865284" y="2526310"/>
            <a:ext cx="631887" cy="2313395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3F0EFBB1-8659-4BBA-88C3-BFEA4C524210}"/>
              </a:ext>
            </a:extLst>
          </p:cNvPr>
          <p:cNvCxnSpPr>
            <a:cxnSpLocks/>
            <a:endCxn id="9" idx="0"/>
          </p:cNvCxnSpPr>
          <p:nvPr/>
        </p:nvCxnSpPr>
        <p:spPr>
          <a:xfrm>
            <a:off x="9284757" y="3683007"/>
            <a:ext cx="2267615" cy="392947"/>
          </a:xfrm>
          <a:prstGeom prst="bentConnector2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611DBC5-D64D-4CF2-9B53-C9E46E605A4B}"/>
              </a:ext>
            </a:extLst>
          </p:cNvPr>
          <p:cNvCxnSpPr>
            <a:cxnSpLocks/>
            <a:endCxn id="7" idx="0"/>
          </p:cNvCxnSpPr>
          <p:nvPr/>
        </p:nvCxnSpPr>
        <p:spPr>
          <a:xfrm>
            <a:off x="8837296" y="3683007"/>
            <a:ext cx="1576390" cy="392947"/>
          </a:xfrm>
          <a:prstGeom prst="bentConnector2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4A3AA8-F2DA-414E-8597-A71234E65D42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8231080" y="3683007"/>
            <a:ext cx="0" cy="333955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464" name="Picture 8" descr="See the source image">
            <a:extLst>
              <a:ext uri="{FF2B5EF4-FFF2-40B4-BE49-F238E27FC236}">
                <a16:creationId xmlns:a16="http://schemas.microsoft.com/office/drawing/2014/main" id="{4EF1A0D0-9779-42A3-8841-39E05D0A8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134" y="2131485"/>
            <a:ext cx="1235579" cy="1235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854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A97AA-7BBB-4B44-8689-C7CE456F6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bution Mode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836C23-A362-437B-AAC5-5287601329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19201"/>
            <a:ext cx="7769025" cy="4906963"/>
          </a:xfrm>
        </p:spPr>
        <p:txBody>
          <a:bodyPr/>
          <a:lstStyle/>
          <a:p>
            <a:r>
              <a:rPr lang="en-US" sz="2800" dirty="0"/>
              <a:t>Model 2: Hub-and-Spoke</a:t>
            </a:r>
          </a:p>
          <a:p>
            <a:pPr lvl="1"/>
            <a:r>
              <a:rPr lang="en-US" sz="2400" dirty="0"/>
              <a:t>Ship to a central location and distribute out</a:t>
            </a:r>
          </a:p>
          <a:p>
            <a:pPr lvl="1"/>
            <a:r>
              <a:rPr lang="en-US" sz="2400" dirty="0"/>
              <a:t>CMC has a 25 cu ft Ultra-Low Freezer</a:t>
            </a:r>
          </a:p>
          <a:p>
            <a:pPr lvl="2"/>
            <a:r>
              <a:rPr lang="en-US" sz="2000" dirty="0"/>
              <a:t>Have also invested in portable cooler and thermometer</a:t>
            </a:r>
          </a:p>
          <a:p>
            <a:pPr lvl="1"/>
            <a:r>
              <a:rPr lang="en-US" sz="2400" dirty="0"/>
              <a:t>Draw back</a:t>
            </a:r>
          </a:p>
          <a:p>
            <a:pPr lvl="2"/>
            <a:r>
              <a:rPr lang="en-US" sz="2000" dirty="0"/>
              <a:t>Additional registration</a:t>
            </a:r>
          </a:p>
          <a:p>
            <a:pPr lvl="2"/>
            <a:r>
              <a:rPr lang="en-US" sz="2000" dirty="0"/>
              <a:t>Maintain cold-chain on transport</a:t>
            </a:r>
          </a:p>
          <a:p>
            <a:pPr lvl="2"/>
            <a:r>
              <a:rPr lang="en-US" sz="2000" dirty="0"/>
              <a:t>Security on transport</a:t>
            </a:r>
          </a:p>
        </p:txBody>
      </p:sp>
      <p:pic>
        <p:nvPicPr>
          <p:cNvPr id="19458" name="Picture 2">
            <a:extLst>
              <a:ext uri="{FF2B5EF4-FFF2-40B4-BE49-F238E27FC236}">
                <a16:creationId xmlns:a16="http://schemas.microsoft.com/office/drawing/2014/main" id="{EE7487D6-05E6-490C-8B12-D27B1F05DF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8642222" y="3331652"/>
            <a:ext cx="1165369" cy="1004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0" name="Picture 4" descr="See the source image">
            <a:extLst>
              <a:ext uri="{FF2B5EF4-FFF2-40B4-BE49-F238E27FC236}">
                <a16:creationId xmlns:a16="http://schemas.microsoft.com/office/drawing/2014/main" id="{004482AC-5543-4A71-92E5-43542C5A3D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418" y="4771766"/>
            <a:ext cx="846343" cy="84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See the source image">
            <a:extLst>
              <a:ext uri="{FF2B5EF4-FFF2-40B4-BE49-F238E27FC236}">
                <a16:creationId xmlns:a16="http://schemas.microsoft.com/office/drawing/2014/main" id="{61FFF0B4-6141-47F1-A23C-00173C4F3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3206" y="4789777"/>
            <a:ext cx="846343" cy="846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68E6A5F7-E54D-42A6-90A3-88EC105DD6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8303181" y="4789777"/>
            <a:ext cx="883919" cy="76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251446B0-1E90-415A-83D8-9C90CBC37B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0" t="56022" r="68821" b="9356"/>
          <a:stretch/>
        </p:blipFill>
        <p:spPr bwMode="auto">
          <a:xfrm>
            <a:off x="10533104" y="4789777"/>
            <a:ext cx="883919" cy="76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Connector: Elbow 10">
            <a:extLst>
              <a:ext uri="{FF2B5EF4-FFF2-40B4-BE49-F238E27FC236}">
                <a16:creationId xmlns:a16="http://schemas.microsoft.com/office/drawing/2014/main" id="{BEB106F1-250E-4895-8743-03BA1C6F9E1B}"/>
              </a:ext>
            </a:extLst>
          </p:cNvPr>
          <p:cNvCxnSpPr>
            <a:cxnSpLocks/>
            <a:stCxn id="19458" idx="2"/>
            <a:endCxn id="19460" idx="0"/>
          </p:cNvCxnSpPr>
          <p:nvPr/>
        </p:nvCxnSpPr>
        <p:spPr>
          <a:xfrm rot="5400000">
            <a:off x="8163922" y="3710781"/>
            <a:ext cx="435654" cy="1686317"/>
          </a:xfrm>
          <a:prstGeom prst="bentConnector3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3F0EFBB1-8659-4BBA-88C3-BFEA4C524210}"/>
              </a:ext>
            </a:extLst>
          </p:cNvPr>
          <p:cNvCxnSpPr>
            <a:cxnSpLocks/>
          </p:cNvCxnSpPr>
          <p:nvPr/>
        </p:nvCxnSpPr>
        <p:spPr>
          <a:xfrm>
            <a:off x="9413206" y="4553824"/>
            <a:ext cx="1561858" cy="242009"/>
          </a:xfrm>
          <a:prstGeom prst="bentConnector2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id="{7611DBC5-D64D-4CF2-9B53-C9E46E605A4B}"/>
              </a:ext>
            </a:extLst>
          </p:cNvPr>
          <p:cNvCxnSpPr>
            <a:cxnSpLocks/>
          </p:cNvCxnSpPr>
          <p:nvPr/>
        </p:nvCxnSpPr>
        <p:spPr>
          <a:xfrm>
            <a:off x="8263863" y="4552601"/>
            <a:ext cx="1561858" cy="242009"/>
          </a:xfrm>
          <a:prstGeom prst="bentConnector2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4A3AA8-F2DA-414E-8597-A71234E65D42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8745141" y="4551378"/>
            <a:ext cx="0" cy="238399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464" name="Picture 8" descr="See the source image">
            <a:extLst>
              <a:ext uri="{FF2B5EF4-FFF2-40B4-BE49-F238E27FC236}">
                <a16:creationId xmlns:a16="http://schemas.microsoft.com/office/drawing/2014/main" id="{4EF1A0D0-9779-42A3-8841-39E05D0A8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8310" y="1830619"/>
            <a:ext cx="1235579" cy="1235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D53B5C2-584C-4F09-ACD8-7455B6ABEC05}"/>
              </a:ext>
            </a:extLst>
          </p:cNvPr>
          <p:cNvCxnSpPr>
            <a:cxnSpLocks/>
          </p:cNvCxnSpPr>
          <p:nvPr/>
        </p:nvCxnSpPr>
        <p:spPr>
          <a:xfrm flipH="1">
            <a:off x="9224907" y="3096478"/>
            <a:ext cx="1193" cy="265454"/>
          </a:xfrm>
          <a:prstGeom prst="line">
            <a:avLst/>
          </a:prstGeom>
          <a:ln w="19050">
            <a:solidFill>
              <a:schemeClr val="tx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9969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67E23-E7D9-4536-8C8C-D6A341169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 of Distribution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F0432ACB-0649-43A7-91DE-2490E0F62DA5}"/>
              </a:ext>
            </a:extLst>
          </p:cNvPr>
          <p:cNvSpPr/>
          <p:nvPr/>
        </p:nvSpPr>
        <p:spPr>
          <a:xfrm>
            <a:off x="212957" y="2801236"/>
            <a:ext cx="11779790" cy="1126435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649BBC-7E08-44EF-AAAF-0A661388782F}"/>
              </a:ext>
            </a:extLst>
          </p:cNvPr>
          <p:cNvSpPr/>
          <p:nvPr/>
        </p:nvSpPr>
        <p:spPr>
          <a:xfrm>
            <a:off x="3859437" y="3083176"/>
            <a:ext cx="1580185" cy="546654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EU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FE6768-CB92-472F-94DE-CF40974C9BD1}"/>
              </a:ext>
            </a:extLst>
          </p:cNvPr>
          <p:cNvSpPr/>
          <p:nvPr/>
        </p:nvSpPr>
        <p:spPr>
          <a:xfrm>
            <a:off x="6503163" y="3094564"/>
            <a:ext cx="2045220" cy="546654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Post-ACIP (Recommenda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B7B4E44-82F9-4ABE-9C9F-BA615B39B8E5}"/>
              </a:ext>
            </a:extLst>
          </p:cNvPr>
          <p:cNvSpPr/>
          <p:nvPr/>
        </p:nvSpPr>
        <p:spPr>
          <a:xfrm>
            <a:off x="2676102" y="3107611"/>
            <a:ext cx="715617" cy="4977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5EE48EE-74DC-469B-9937-F020075C7169}"/>
              </a:ext>
            </a:extLst>
          </p:cNvPr>
          <p:cNvCxnSpPr>
            <a:cxnSpLocks/>
          </p:cNvCxnSpPr>
          <p:nvPr/>
        </p:nvCxnSpPr>
        <p:spPr>
          <a:xfrm>
            <a:off x="2399007" y="3370017"/>
            <a:ext cx="1191733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89F8732B-5909-4D71-9824-7E5BF8E47C47}"/>
              </a:ext>
            </a:extLst>
          </p:cNvPr>
          <p:cNvSpPr/>
          <p:nvPr/>
        </p:nvSpPr>
        <p:spPr>
          <a:xfrm>
            <a:off x="217551" y="3083176"/>
            <a:ext cx="1884009" cy="546654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tx1"/>
                </a:solidFill>
              </a:rPr>
              <a:t>Pre-EUA/Pre-ACIP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D639BAA-043B-4379-8BFF-6FA2D972F60C}"/>
              </a:ext>
            </a:extLst>
          </p:cNvPr>
          <p:cNvCxnSpPr>
            <a:cxnSpLocks/>
          </p:cNvCxnSpPr>
          <p:nvPr/>
        </p:nvCxnSpPr>
        <p:spPr>
          <a:xfrm>
            <a:off x="8616831" y="1202326"/>
            <a:ext cx="0" cy="4829329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BFAB140-3535-433A-9729-5152676F6FF9}"/>
              </a:ext>
            </a:extLst>
          </p:cNvPr>
          <p:cNvCxnSpPr>
            <a:cxnSpLocks/>
          </p:cNvCxnSpPr>
          <p:nvPr/>
        </p:nvCxnSpPr>
        <p:spPr>
          <a:xfrm>
            <a:off x="5596663" y="3339547"/>
            <a:ext cx="7262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24F2CE42-B8E9-49F3-BDC9-A6627C5E3483}"/>
              </a:ext>
            </a:extLst>
          </p:cNvPr>
          <p:cNvSpPr/>
          <p:nvPr/>
        </p:nvSpPr>
        <p:spPr>
          <a:xfrm>
            <a:off x="8754554" y="1726480"/>
            <a:ext cx="3132240" cy="856963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Pre-Position Sites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Begin Vaccination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28BCFD7-AC60-4D7B-AB10-8E4165A8230A}"/>
              </a:ext>
            </a:extLst>
          </p:cNvPr>
          <p:cNvCxnSpPr>
            <a:cxnSpLocks/>
            <a:stCxn id="16" idx="0"/>
          </p:cNvCxnSpPr>
          <p:nvPr/>
        </p:nvCxnSpPr>
        <p:spPr>
          <a:xfrm flipH="1" flipV="1">
            <a:off x="945616" y="3629830"/>
            <a:ext cx="1" cy="35364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40943974-7764-42A4-B8D6-89853671957C}"/>
              </a:ext>
            </a:extLst>
          </p:cNvPr>
          <p:cNvSpPr/>
          <p:nvPr/>
        </p:nvSpPr>
        <p:spPr>
          <a:xfrm>
            <a:off x="164764" y="3983475"/>
            <a:ext cx="1561705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We are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76B875D-28A1-430C-B309-74C03B528106}"/>
              </a:ext>
            </a:extLst>
          </p:cNvPr>
          <p:cNvSpPr/>
          <p:nvPr/>
        </p:nvSpPr>
        <p:spPr>
          <a:xfrm>
            <a:off x="4430102" y="5135642"/>
            <a:ext cx="2139828" cy="646331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B050"/>
                </a:solidFill>
              </a:rPr>
              <a:t>Vaccine delivery to Pre-Positioned Sit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11982F2-B4A1-40A6-8E07-7D5C62DB311E}"/>
              </a:ext>
            </a:extLst>
          </p:cNvPr>
          <p:cNvSpPr/>
          <p:nvPr/>
        </p:nvSpPr>
        <p:spPr>
          <a:xfrm>
            <a:off x="2170063" y="5108325"/>
            <a:ext cx="1836802" cy="923330"/>
          </a:xfrm>
          <a:prstGeom prst="rect">
            <a:avLst/>
          </a:prstGeom>
          <a:ln>
            <a:solidFill>
              <a:srgbClr val="00B05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00B050"/>
                </a:solidFill>
              </a:rPr>
              <a:t>Ancillary Supplies</a:t>
            </a:r>
          </a:p>
          <a:p>
            <a:pPr algn="ctr"/>
            <a:r>
              <a:rPr lang="en-US" dirty="0">
                <a:solidFill>
                  <a:srgbClr val="00B050"/>
                </a:solidFill>
              </a:rPr>
              <a:t>Delivery to Pre-Positioned Sites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15ED0AB-3FA1-40C1-BF4E-A98595A39198}"/>
              </a:ext>
            </a:extLst>
          </p:cNvPr>
          <p:cNvCxnSpPr>
            <a:cxnSpLocks/>
          </p:cNvCxnSpPr>
          <p:nvPr/>
        </p:nvCxnSpPr>
        <p:spPr>
          <a:xfrm flipV="1">
            <a:off x="2962705" y="3651055"/>
            <a:ext cx="12752" cy="145062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513C794F-E325-4653-BB82-F0824D8EF1E2}"/>
              </a:ext>
            </a:extLst>
          </p:cNvPr>
          <p:cNvSpPr/>
          <p:nvPr/>
        </p:nvSpPr>
        <p:spPr>
          <a:xfrm>
            <a:off x="212957" y="1223933"/>
            <a:ext cx="2142863" cy="36933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EXAMPLE TIMELIN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7385E2-ED9C-4D85-8B2C-CFBDDE0E7155}"/>
              </a:ext>
            </a:extLst>
          </p:cNvPr>
          <p:cNvSpPr/>
          <p:nvPr/>
        </p:nvSpPr>
        <p:spPr>
          <a:xfrm>
            <a:off x="2475986" y="3973895"/>
            <a:ext cx="909985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Nov. 30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5EB19CC-1EE9-46D9-BEB9-C16059C04D00}"/>
              </a:ext>
            </a:extLst>
          </p:cNvPr>
          <p:cNvSpPr/>
          <p:nvPr/>
        </p:nvSpPr>
        <p:spPr>
          <a:xfrm>
            <a:off x="4194536" y="2014674"/>
            <a:ext cx="909985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Dec. 7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30B06CE-A1F3-4B83-A284-C589120978EE}"/>
              </a:ext>
            </a:extLst>
          </p:cNvPr>
          <p:cNvSpPr/>
          <p:nvPr/>
        </p:nvSpPr>
        <p:spPr>
          <a:xfrm>
            <a:off x="6831129" y="2013709"/>
            <a:ext cx="909985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Dec. 10</a:t>
            </a: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A19C74A-7245-4C4C-99FF-097D774C5413}"/>
              </a:ext>
            </a:extLst>
          </p:cNvPr>
          <p:cNvCxnSpPr>
            <a:cxnSpLocks/>
          </p:cNvCxnSpPr>
          <p:nvPr/>
        </p:nvCxnSpPr>
        <p:spPr>
          <a:xfrm flipV="1">
            <a:off x="5432872" y="3657704"/>
            <a:ext cx="12752" cy="1450621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F600C02-E7C1-4571-81E6-FC0033CF1473}"/>
              </a:ext>
            </a:extLst>
          </p:cNvPr>
          <p:cNvCxnSpPr>
            <a:stCxn id="23" idx="2"/>
            <a:endCxn id="7" idx="0"/>
          </p:cNvCxnSpPr>
          <p:nvPr/>
        </p:nvCxnSpPr>
        <p:spPr>
          <a:xfrm>
            <a:off x="4649529" y="2384006"/>
            <a:ext cx="1" cy="6991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8A6A060D-8661-41E5-900B-EF11DFB6BA86}"/>
              </a:ext>
            </a:extLst>
          </p:cNvPr>
          <p:cNvCxnSpPr>
            <a:cxnSpLocks/>
          </p:cNvCxnSpPr>
          <p:nvPr/>
        </p:nvCxnSpPr>
        <p:spPr>
          <a:xfrm>
            <a:off x="7281909" y="2423474"/>
            <a:ext cx="8426" cy="6202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A5A62B62-85AB-4ACC-BA06-90A8D33EF3B2}"/>
              </a:ext>
            </a:extLst>
          </p:cNvPr>
          <p:cNvSpPr/>
          <p:nvPr/>
        </p:nvSpPr>
        <p:spPr>
          <a:xfrm>
            <a:off x="8764110" y="1202326"/>
            <a:ext cx="909985" cy="369332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Dec. 11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5B4AA97-5754-4F63-B6CC-EEE8636ED6E5}"/>
              </a:ext>
            </a:extLst>
          </p:cNvPr>
          <p:cNvSpPr/>
          <p:nvPr/>
        </p:nvSpPr>
        <p:spPr>
          <a:xfrm>
            <a:off x="8754554" y="4538783"/>
            <a:ext cx="3132240" cy="85696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Shipments Sent to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 Other Sit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67F4661-96E7-4F14-BEB6-DC036A52EAFB}"/>
              </a:ext>
            </a:extLst>
          </p:cNvPr>
          <p:cNvSpPr/>
          <p:nvPr/>
        </p:nvSpPr>
        <p:spPr>
          <a:xfrm>
            <a:off x="4881608" y="3983475"/>
            <a:ext cx="1236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rgbClr val="FF0000"/>
                </a:solidFill>
              </a:rPr>
              <a:t>Dec. 8 or 9</a:t>
            </a:r>
          </a:p>
        </p:txBody>
      </p:sp>
    </p:spTree>
    <p:extLst>
      <p:ext uri="{BB962C8B-B14F-4D97-AF65-F5344CB8AC3E}">
        <p14:creationId xmlns:p14="http://schemas.microsoft.com/office/powerpoint/2010/main" val="35243927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267E23-E7D9-4536-8C8C-D6A341169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 by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73181A-2F05-41A7-BEA7-D45B19A632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Currently 2 vaccines lead the pack of candidates</a:t>
            </a:r>
          </a:p>
          <a:p>
            <a:pPr lvl="1"/>
            <a:r>
              <a:rPr lang="en-US" sz="2400" dirty="0"/>
              <a:t>Each requires 2 doses</a:t>
            </a:r>
          </a:p>
          <a:p>
            <a:pPr lvl="1"/>
            <a:r>
              <a:rPr lang="en-US" sz="2400" dirty="0"/>
              <a:t>Unique storage of each – preparing for both</a:t>
            </a:r>
          </a:p>
          <a:p>
            <a:pPr lvl="1"/>
            <a:r>
              <a:rPr lang="en-US" sz="2400" dirty="0"/>
              <a:t>Closely monitoring EUA approval process</a:t>
            </a:r>
          </a:p>
          <a:p>
            <a:r>
              <a:rPr lang="en-US" sz="2800" dirty="0"/>
              <a:t>Planning for phase 1a distribution</a:t>
            </a:r>
          </a:p>
          <a:p>
            <a:pPr lvl="1"/>
            <a:r>
              <a:rPr lang="en-US" sz="2400" dirty="0"/>
              <a:t>Guided by state and system analysis</a:t>
            </a:r>
          </a:p>
          <a:p>
            <a:r>
              <a:rPr lang="en-US" sz="2800" dirty="0"/>
              <a:t>Preparing for various allocation methods</a:t>
            </a:r>
          </a:p>
          <a:p>
            <a:pPr lvl="1"/>
            <a:r>
              <a:rPr lang="en-US" sz="2400"/>
              <a:t>Most storage conditions have been planned for</a:t>
            </a:r>
          </a:p>
          <a:p>
            <a:pPr lvl="1"/>
            <a:endParaRPr lang="en-US" sz="2400" dirty="0"/>
          </a:p>
          <a:p>
            <a:r>
              <a:rPr lang="en-US" sz="2800" dirty="0"/>
              <a:t>This is a fluid situation – need to be prepared but flexible</a:t>
            </a:r>
          </a:p>
        </p:txBody>
      </p:sp>
    </p:spTree>
    <p:extLst>
      <p:ext uri="{BB962C8B-B14F-4D97-AF65-F5344CB8AC3E}">
        <p14:creationId xmlns:p14="http://schemas.microsoft.com/office/powerpoint/2010/main" val="4275478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Pharmacy Update</a:t>
            </a:r>
            <a:br>
              <a:rPr lang="en-US" dirty="0"/>
            </a:br>
            <a:r>
              <a:rPr lang="en-US" sz="3600" dirty="0" err="1">
                <a:cs typeface="Calibri"/>
              </a:rPr>
              <a:t>Bamlanivimab</a:t>
            </a:r>
            <a:endParaRPr lang="en-US" dirty="0">
              <a:cs typeface="Calibri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t"/>
          <a:lstStyle/>
          <a:p>
            <a:r>
              <a:rPr lang="en-US" dirty="0">
                <a:ea typeface="+mn-lt"/>
                <a:cs typeface="+mn-lt"/>
              </a:rPr>
              <a:t>Wesley Wells, </a:t>
            </a:r>
            <a:r>
              <a:rPr lang="en-US" dirty="0" err="1">
                <a:ea typeface="+mn-lt"/>
                <a:cs typeface="+mn-lt"/>
              </a:rPr>
              <a:t>PharmD</a:t>
            </a:r>
            <a:endParaRPr lang="en-US" dirty="0">
              <a:ea typeface="+mn-lt"/>
              <a:cs typeface="+mn-lt"/>
            </a:endParaRPr>
          </a:p>
          <a:p>
            <a:r>
              <a:rPr lang="en-US" dirty="0">
                <a:ea typeface="+mn-lt"/>
                <a:cs typeface="+mn-lt"/>
              </a:rPr>
              <a:t>Regional Pharmacy Director </a:t>
            </a:r>
          </a:p>
          <a:p>
            <a:r>
              <a:rPr lang="en-US" dirty="0">
                <a:ea typeface="+mn-lt"/>
                <a:cs typeface="+mn-lt"/>
              </a:rPr>
              <a:t>Covenant Healt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050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00375E8-C5E7-421E-B6E8-3806AD9D1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rgbClr val="FFFFFF"/>
                </a:solidFill>
                <a:cs typeface="Arial"/>
              </a:rPr>
              <a:t>Bamlanivimab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C34D961-4885-48E1-B2DD-A9906753E4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Investigational monoclonal antibody therapy</a:t>
            </a:r>
          </a:p>
          <a:p>
            <a:pPr lvl="1"/>
            <a:r>
              <a:rPr lang="en-GB" sz="2400" dirty="0"/>
              <a:t>Binds to spike protein preventing virus entry into host cells</a:t>
            </a:r>
          </a:p>
          <a:p>
            <a:r>
              <a:rPr lang="en-GB" sz="2800" dirty="0"/>
              <a:t>For the treatment of mild-to-moderate COVID-19 in patients greater than 12 years and 40 kilograms</a:t>
            </a:r>
          </a:p>
          <a:p>
            <a:pPr lvl="1"/>
            <a:r>
              <a:rPr lang="en-GB" sz="2400" dirty="0"/>
              <a:t>Outpatients who do not require oxygen </a:t>
            </a:r>
          </a:p>
          <a:p>
            <a:pPr lvl="1"/>
            <a:r>
              <a:rPr lang="en-GB" sz="2400" dirty="0"/>
              <a:t>Do not have an increase in oxygen need if previously on supplemental oxygen</a:t>
            </a:r>
          </a:p>
          <a:p>
            <a:r>
              <a:rPr lang="en-GB" sz="2800" dirty="0"/>
              <a:t>Is distributed by Amerisource Bergen</a:t>
            </a:r>
          </a:p>
          <a:p>
            <a:pPr lvl="1"/>
            <a:r>
              <a:rPr lang="en-GB" sz="2400" dirty="0"/>
              <a:t>Will follow a similar process to the </a:t>
            </a:r>
            <a:r>
              <a:rPr lang="en-GB" sz="2400" dirty="0" err="1"/>
              <a:t>Remdesivir</a:t>
            </a:r>
            <a:r>
              <a:rPr lang="en-GB" sz="2400" dirty="0"/>
              <a:t> EUA</a:t>
            </a:r>
          </a:p>
          <a:p>
            <a:pPr lvl="1"/>
            <a:r>
              <a:rPr lang="en-GB" sz="2400" dirty="0"/>
              <a:t>CMC is expecting about 97 vials, UMC is expecting 82-85 vial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371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Wednesday following the call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9B1C9-E618-48C3-A393-59DB435AB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amlanivimab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82112B-EAE0-473A-B5AF-1DF2C8F353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/>
              <a:t>Shown in clinical trials to reduce COVID-19-related hospitalization or emergency room visits in high-risk patients</a:t>
            </a:r>
          </a:p>
          <a:p>
            <a:r>
              <a:rPr lang="en-US" sz="2800" dirty="0"/>
              <a:t>Use of medication is supported by Governor Abbott and his team</a:t>
            </a:r>
          </a:p>
          <a:p>
            <a:r>
              <a:rPr lang="en-US" sz="2800" dirty="0"/>
              <a:t>NIH and IDSA do not recommend its routine use</a:t>
            </a:r>
          </a:p>
          <a:p>
            <a:pPr lvl="1"/>
            <a:r>
              <a:rPr lang="en-US" sz="2400" dirty="0"/>
              <a:t>May have a role in select high-risk patients</a:t>
            </a:r>
          </a:p>
          <a:p>
            <a:r>
              <a:rPr lang="en-US" sz="2800" dirty="0"/>
              <a:t>Being released by the state but still a scarce resource</a:t>
            </a:r>
          </a:p>
          <a:p>
            <a:r>
              <a:rPr lang="en-US" sz="2800" dirty="0"/>
              <a:t>Coordinated a criteria for use with UMC</a:t>
            </a:r>
          </a:p>
        </p:txBody>
      </p:sp>
    </p:spTree>
    <p:extLst>
      <p:ext uri="{BB962C8B-B14F-4D97-AF65-F5344CB8AC3E}">
        <p14:creationId xmlns:p14="http://schemas.microsoft.com/office/powerpoint/2010/main" val="677702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79B1C9-E618-48C3-A393-59DB435AB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amlanivimab</a:t>
            </a:r>
            <a:endParaRPr lang="en-US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8CD6308F-7113-4FF0-9C65-3846FE8ADE2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21080" y="1153160"/>
          <a:ext cx="10149840" cy="4551680"/>
        </p:xfrm>
        <a:graphic>
          <a:graphicData uri="http://schemas.openxmlformats.org/drawingml/2006/table">
            <a:tbl>
              <a:tblPr firstRow="1" bandRow="1"/>
              <a:tblGrid>
                <a:gridCol w="4793444">
                  <a:extLst>
                    <a:ext uri="{9D8B030D-6E8A-4147-A177-3AD203B41FA5}">
                      <a16:colId xmlns:a16="http://schemas.microsoft.com/office/drawing/2014/main" val="101666834"/>
                    </a:ext>
                  </a:extLst>
                </a:gridCol>
                <a:gridCol w="576885">
                  <a:extLst>
                    <a:ext uri="{9D8B030D-6E8A-4147-A177-3AD203B41FA5}">
                      <a16:colId xmlns:a16="http://schemas.microsoft.com/office/drawing/2014/main" val="1578942229"/>
                    </a:ext>
                  </a:extLst>
                </a:gridCol>
                <a:gridCol w="4779511">
                  <a:extLst>
                    <a:ext uri="{9D8B030D-6E8A-4147-A177-3AD203B41FA5}">
                      <a16:colId xmlns:a16="http://schemas.microsoft.com/office/drawing/2014/main" val="131635397"/>
                    </a:ext>
                  </a:extLst>
                </a:gridCol>
              </a:tblGrid>
              <a:tr h="370840">
                <a:tc gridSpan="3">
                  <a:txBody>
                    <a:bodyPr/>
                    <a:lstStyle/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GB" sz="1600" b="1" dirty="0"/>
                        <a:t>CRITERIA FOR USE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1013039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marL="342900" indent="-342900">
                        <a:buAutoNum type="arabicPeriod"/>
                      </a:pPr>
                      <a:r>
                        <a:rPr lang="en-GB" sz="1800" dirty="0"/>
                        <a:t>Must be administered within 5 days of positive COVID test and within 10 days of symptom onset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en-GB" sz="1800" dirty="0"/>
                        <a:t>No exclusion criteria: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Hospitalized due to COVID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Requiring supplemental oxygen therapy due to COVID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Requiring an increase in baseline supplemental oxygen due to COVID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9917581"/>
                  </a:ext>
                </a:extLst>
              </a:tr>
              <a:tr h="370840"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AND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25414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Immunocompromised condition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Solid organ transplant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Blood or bone marrow transplant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Primary Immune deficiencies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HIV with a low CD4 cell count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HIV not on treatment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Prolonged use of corticosteroids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Use of other immune weakening therapies</a:t>
                      </a:r>
                    </a:p>
                    <a:p>
                      <a:endParaRPr 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dirty="0"/>
                        <a:t>O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atient is greater than or equal to 65 years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AND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l"/>
                      <a:r>
                        <a:rPr lang="en-US" dirty="0"/>
                        <a:t>2 of the following: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BMI greater than 35 kg/m2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CKD stage 3 or 4</a:t>
                      </a:r>
                    </a:p>
                    <a:p>
                      <a:pPr marL="742950" lvl="1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Uncontrolled diabetes </a:t>
                      </a:r>
                    </a:p>
                    <a:p>
                      <a:pPr marL="1200150" lvl="2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600" dirty="0"/>
                        <a:t>Last A1C is greater than 7%</a:t>
                      </a:r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671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9474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74288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34796" y="378160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Government Affairs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988828"/>
            <a:ext cx="12192000" cy="8874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692459" y="1532707"/>
            <a:ext cx="1002431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600" dirty="0"/>
          </a:p>
          <a:p>
            <a:r>
              <a:rPr lang="en-US" sz="3600" dirty="0"/>
              <a:t>Monoclonal Antibody </a:t>
            </a:r>
            <a:r>
              <a:rPr lang="en-US" sz="2800" dirty="0"/>
              <a:t>–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next shipment to the state will be substantially higher than first allotment (5700 dose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Governor Abbott had a press conference on Thursday 11-19  in Lubbock to discuss MA and City’s response to COVID</a:t>
            </a:r>
          </a:p>
        </p:txBody>
      </p:sp>
    </p:spTree>
    <p:extLst>
      <p:ext uri="{BB962C8B-B14F-4D97-AF65-F5344CB8AC3E}">
        <p14:creationId xmlns:p14="http://schemas.microsoft.com/office/powerpoint/2010/main" val="234822712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84D51-FDA1-184F-A90D-AD0BC6664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nications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E2A53-E295-EE47-85B1-DB91C0A8FE7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D8A7B4-A1EB-794D-B127-18F378E3F9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28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BC5C03B-37DE-B74C-98A1-D6D0BB5890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1676"/>
            <a:ext cx="12192000" cy="675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7010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9765A9-468F-7E49-9F0C-BCF6D76005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349"/>
            <a:ext cx="12192000" cy="6747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6769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59C521-113D-0C49-808D-10DD738FA6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849"/>
            <a:ext cx="12192000" cy="6746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97875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6190324-246F-8A49-9656-367CE9A6B5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20"/>
            <a:ext cx="12192000" cy="6719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94785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EF1F14-9A74-A542-A5B1-48D742AF3B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6172"/>
            <a:ext cx="12192000" cy="6725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868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513" y="2880766"/>
            <a:ext cx="8838473" cy="1870729"/>
          </a:xfrm>
        </p:spPr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178" y="5446124"/>
            <a:ext cx="88384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Presented by</a:t>
            </a:r>
          </a:p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Brian Schroeder, MD FACP</a:t>
            </a:r>
          </a:p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CMO Covenant Medical Center</a:t>
            </a:r>
          </a:p>
        </p:txBody>
      </p:sp>
    </p:spTree>
    <p:extLst>
      <p:ext uri="{BB962C8B-B14F-4D97-AF65-F5344CB8AC3E}">
        <p14:creationId xmlns:p14="http://schemas.microsoft.com/office/powerpoint/2010/main" val="41606269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DC47580-B225-5244-B35D-004FE5DE38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785"/>
            <a:ext cx="12192000" cy="672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96801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BCB143-5BB6-234E-B921-1BC8A49C85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27A822-AD66-E548-B48B-EC955CE2B4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761"/>
            <a:ext cx="12192000" cy="674847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9B3EA9-3505-8945-8618-403C25E160AE}"/>
              </a:ext>
            </a:extLst>
          </p:cNvPr>
          <p:cNvSpPr txBox="1"/>
          <p:nvPr/>
        </p:nvSpPr>
        <p:spPr>
          <a:xfrm>
            <a:off x="2327563" y="3574473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3.87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28917A-911D-9246-8893-6E0C1D489315}"/>
              </a:ext>
            </a:extLst>
          </p:cNvPr>
          <p:cNvSpPr txBox="1"/>
          <p:nvPr/>
        </p:nvSpPr>
        <p:spPr>
          <a:xfrm>
            <a:off x="3329708" y="3569861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4.81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681FFA-F01D-1141-A12C-85E7EA57C6C7}"/>
              </a:ext>
            </a:extLst>
          </p:cNvPr>
          <p:cNvSpPr txBox="1"/>
          <p:nvPr/>
        </p:nvSpPr>
        <p:spPr>
          <a:xfrm>
            <a:off x="4359561" y="3519069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7.1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8B60C5-474D-444C-8212-32CD8FFDDC01}"/>
              </a:ext>
            </a:extLst>
          </p:cNvPr>
          <p:cNvSpPr txBox="1"/>
          <p:nvPr/>
        </p:nvSpPr>
        <p:spPr>
          <a:xfrm>
            <a:off x="5327810" y="3569861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5.27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E7D3A3-52C2-A34B-B3EE-38A3DF73CD7C}"/>
              </a:ext>
            </a:extLst>
          </p:cNvPr>
          <p:cNvSpPr txBox="1"/>
          <p:nvPr/>
        </p:nvSpPr>
        <p:spPr>
          <a:xfrm>
            <a:off x="6406891" y="3500585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8.2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FD983A-B905-BB41-8D59-2B0E50CE7484}"/>
              </a:ext>
            </a:extLst>
          </p:cNvPr>
          <p:cNvSpPr txBox="1"/>
          <p:nvPr/>
        </p:nvSpPr>
        <p:spPr>
          <a:xfrm>
            <a:off x="7381325" y="3505204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8.71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4C2DCF2-42BD-EE4A-BA71-99325A3ADF7A}"/>
              </a:ext>
            </a:extLst>
          </p:cNvPr>
          <p:cNvSpPr txBox="1"/>
          <p:nvPr/>
        </p:nvSpPr>
        <p:spPr>
          <a:xfrm>
            <a:off x="8383467" y="3463643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9.23%</a:t>
            </a:r>
          </a:p>
        </p:txBody>
      </p:sp>
    </p:spTree>
    <p:extLst>
      <p:ext uri="{BB962C8B-B14F-4D97-AF65-F5344CB8AC3E}">
        <p14:creationId xmlns:p14="http://schemas.microsoft.com/office/powerpoint/2010/main" val="8898679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 dirty="0"/>
              <a:t>Reminder: 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NO Call next week, due to Thanksgiving.</a:t>
            </a:r>
          </a:p>
          <a:p>
            <a:r>
              <a:rPr lang="en-US" dirty="0"/>
              <a:t>Celebrate safely, enjoy time your loved ones, and be grateful for all that we’ve been given.</a:t>
            </a:r>
          </a:p>
        </p:txBody>
      </p:sp>
    </p:spTree>
    <p:extLst>
      <p:ext uri="{BB962C8B-B14F-4D97-AF65-F5344CB8AC3E}">
        <p14:creationId xmlns:p14="http://schemas.microsoft.com/office/powerpoint/2010/main" val="13876827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the following Wednesday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COUNTY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45322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6907" y="922205"/>
            <a:ext cx="6054903" cy="29691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269137" y="1253689"/>
            <a:ext cx="14430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19 on 11/12</a:t>
            </a:r>
          </a:p>
          <a:p>
            <a:r>
              <a:rPr lang="en-US" dirty="0">
                <a:solidFill>
                  <a:schemeClr val="bg1"/>
                </a:solidFill>
              </a:rPr>
              <a:t>105 on 11/17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528" y="922205"/>
            <a:ext cx="5757155" cy="2969173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964314" y="1336144"/>
            <a:ext cx="1443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124 on 11/13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10894" y="3928322"/>
            <a:ext cx="9353550" cy="287651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700618" y="4534669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3.6 %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14358" y="4099745"/>
            <a:ext cx="1443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49 on 11/18</a:t>
            </a:r>
          </a:p>
        </p:txBody>
      </p:sp>
    </p:spTree>
    <p:extLst>
      <p:ext uri="{BB962C8B-B14F-4D97-AF65-F5344CB8AC3E}">
        <p14:creationId xmlns:p14="http://schemas.microsoft.com/office/powerpoint/2010/main" val="2496042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628" y="0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39735" y="5107429"/>
          <a:ext cx="11312527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471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19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94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20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63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782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94286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32541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6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79,9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05,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7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6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8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" y="1023495"/>
            <a:ext cx="11633200" cy="3790950"/>
          </a:xfrm>
          <a:prstGeom prst="rect">
            <a:avLst/>
          </a:prstGeom>
        </p:spPr>
      </p:pic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717526" y="1486727"/>
          <a:ext cx="2968773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859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3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895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919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3,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027,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048,38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7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5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88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9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63562" y="2851700"/>
            <a:ext cx="111887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5539665" y="1402004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10,893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7/22</a:t>
            </a:r>
          </a:p>
        </p:txBody>
      </p:sp>
      <p:sp>
        <p:nvSpPr>
          <p:cNvPr id="7" name="Down Arrow 6"/>
          <p:cNvSpPr/>
          <p:nvPr/>
        </p:nvSpPr>
        <p:spPr>
          <a:xfrm>
            <a:off x="6228936" y="2005697"/>
            <a:ext cx="136355" cy="4211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870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6247</TotalTime>
  <Words>1713</Words>
  <Application>Microsoft Macintosh PowerPoint</Application>
  <PresentationFormat>Widescreen</PresentationFormat>
  <Paragraphs>455</Paragraphs>
  <Slides>64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82" baseType="lpstr">
      <vt:lpstr> Arial</vt:lpstr>
      <vt:lpstr>Arial</vt:lpstr>
      <vt:lpstr>Arial Narrow</vt:lpstr>
      <vt:lpstr>Baskerville Old Face</vt:lpstr>
      <vt:lpstr>Calibri</vt:lpstr>
      <vt:lpstr>Georgia</vt:lpstr>
      <vt:lpstr>Helvetica Neue Medium</vt:lpstr>
      <vt:lpstr>Segoe UI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think-cell Slide</vt:lpstr>
      <vt:lpstr>Covenant Health Presents    Critical Communications: A Weekly Physician Update  November 20, 2020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Current Regional Covid-19 Census</vt:lpstr>
      <vt:lpstr>COUNTY</vt:lpstr>
      <vt:lpstr>STATE</vt:lpstr>
      <vt:lpstr>PowerPoint Presentation</vt:lpstr>
      <vt:lpstr>COVID+ HOSPITALIZATIONS BY TSA ID</vt:lpstr>
      <vt:lpstr>Lubbock This Morning</vt:lpstr>
      <vt:lpstr>RAC-DSHS</vt:lpstr>
      <vt:lpstr>Transfers</vt:lpstr>
      <vt:lpstr>TRANSFERS</vt:lpstr>
      <vt:lpstr>BRAC – bed availability this morning</vt:lpstr>
      <vt:lpstr>PowerPoint Presentation</vt:lpstr>
      <vt:lpstr>PUI/Confirmed cases-hospitalized COVID UNITS</vt:lpstr>
      <vt:lpstr>TOTAL COVID on ALL UNITS on CMC</vt:lpstr>
      <vt:lpstr>COVID Units - CMC</vt:lpstr>
      <vt:lpstr>Surge Plans</vt:lpstr>
      <vt:lpstr>Surge Plan</vt:lpstr>
      <vt:lpstr>STATE PROVIDED BLUE MEDICAL TENTS</vt:lpstr>
      <vt:lpstr>1 South Overflow at Children’s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TX/NM Region Weekly Procedures (YOY)</vt:lpstr>
      <vt:lpstr>Caregiver  Update</vt:lpstr>
      <vt:lpstr>PowerPoint Presentation</vt:lpstr>
      <vt:lpstr>Covid-19 Testing</vt:lpstr>
      <vt:lpstr>PowerPoint Presentation</vt:lpstr>
      <vt:lpstr>TESTING</vt:lpstr>
      <vt:lpstr>PowerPoint Presentation</vt:lpstr>
      <vt:lpstr>Pharmacy Update Vaccine Update</vt:lpstr>
      <vt:lpstr>Operation Warp Speed (OWS) </vt:lpstr>
      <vt:lpstr>Possible Candidates</vt:lpstr>
      <vt:lpstr>Comparison of Products</vt:lpstr>
      <vt:lpstr>Pfizer Vaccine Packaging</vt:lpstr>
      <vt:lpstr>COVID Vaccination Phased Distribution</vt:lpstr>
      <vt:lpstr>Distribution Models</vt:lpstr>
      <vt:lpstr>Distribution Models</vt:lpstr>
      <vt:lpstr>Timeline of Distribution</vt:lpstr>
      <vt:lpstr>Next Steps by Team</vt:lpstr>
      <vt:lpstr>Pharmacy Update Bamlanivimab</vt:lpstr>
      <vt:lpstr>Bamlanivimab</vt:lpstr>
      <vt:lpstr>Bamlanivimab</vt:lpstr>
      <vt:lpstr>Bamlanivimab</vt:lpstr>
      <vt:lpstr>PowerPoint Presentation</vt:lpstr>
      <vt:lpstr>Communications Update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minder: 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662</cp:revision>
  <cp:lastPrinted>2020-10-16T15:04:20Z</cp:lastPrinted>
  <dcterms:created xsi:type="dcterms:W3CDTF">2020-04-06T15:45:06Z</dcterms:created>
  <dcterms:modified xsi:type="dcterms:W3CDTF">2020-11-20T17:23:01Z</dcterms:modified>
</cp:coreProperties>
</file>